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25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7CE44A-D112-A355-9CDB-70207EEEC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le 42">
            <a:extLst>
              <a:ext uri="{FF2B5EF4-FFF2-40B4-BE49-F238E27FC236}">
                <a16:creationId xmlns:a16="http://schemas.microsoft.com/office/drawing/2014/main" id="{38F56C0A-8998-B048-4203-8D6671B5F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</p:spPr>
        <p:txBody>
          <a:bodyPr/>
          <a:lstStyle/>
          <a:p>
            <a:r>
              <a:rPr lang="en-US" dirty="0"/>
              <a:t>Timelin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9C9D092-3F81-1F72-6ACC-00D1AD97C173}"/>
              </a:ext>
            </a:extLst>
          </p:cNvPr>
          <p:cNvGrpSpPr>
            <a:grpSpLocks noChangeAspect="1"/>
          </p:cNvGrpSpPr>
          <p:nvPr/>
        </p:nvGrpSpPr>
        <p:grpSpPr>
          <a:xfrm>
            <a:off x="714375" y="2552700"/>
            <a:ext cx="16871950" cy="6131791"/>
            <a:chOff x="2168424" y="3665458"/>
            <a:chExt cx="14169171" cy="5149517"/>
          </a:xfrm>
        </p:grpSpPr>
        <p:sp>
          <p:nvSpPr>
            <p:cNvPr id="2" name="Freeform 10">
              <a:extLst>
                <a:ext uri="{FF2B5EF4-FFF2-40B4-BE49-F238E27FC236}">
                  <a16:creationId xmlns:a16="http://schemas.microsoft.com/office/drawing/2014/main" id="{E1DD9EEB-FE33-CDEA-1D8D-35F45C254CC7}"/>
                </a:ext>
              </a:extLst>
            </p:cNvPr>
            <p:cNvSpPr/>
            <p:nvPr/>
          </p:nvSpPr>
          <p:spPr>
            <a:xfrm>
              <a:off x="2243762" y="5707985"/>
              <a:ext cx="13800480" cy="688865"/>
            </a:xfrm>
            <a:custGeom>
              <a:avLst/>
              <a:gdLst>
                <a:gd name="connsiteX0" fmla="*/ 9987134 w 10241523"/>
                <a:gd name="connsiteY0" fmla="*/ 0 h 511216"/>
                <a:gd name="connsiteX1" fmla="*/ 10241523 w 10241523"/>
                <a:gd name="connsiteY1" fmla="*/ 254389 h 511216"/>
                <a:gd name="connsiteX2" fmla="*/ 9987134 w 10241523"/>
                <a:gd name="connsiteY2" fmla="*/ 508778 h 511216"/>
                <a:gd name="connsiteX3" fmla="*/ 9983882 w 10241523"/>
                <a:gd name="connsiteY3" fmla="*/ 505526 h 511216"/>
                <a:gd name="connsiteX4" fmla="*/ 8454230 w 10241523"/>
                <a:gd name="connsiteY4" fmla="*/ 505526 h 511216"/>
                <a:gd name="connsiteX5" fmla="*/ 8448540 w 10241523"/>
                <a:gd name="connsiteY5" fmla="*/ 511216 h 511216"/>
                <a:gd name="connsiteX6" fmla="*/ 8445288 w 10241523"/>
                <a:gd name="connsiteY6" fmla="*/ 507964 h 511216"/>
                <a:gd name="connsiteX7" fmla="*/ 0 w 10241523"/>
                <a:gd name="connsiteY7" fmla="*/ 507964 h 511216"/>
                <a:gd name="connsiteX8" fmla="*/ 0 w 10241523"/>
                <a:gd name="connsiteY8" fmla="*/ 495637 h 511216"/>
                <a:gd name="connsiteX9" fmla="*/ 238812 w 10241523"/>
                <a:gd name="connsiteY9" fmla="*/ 256826 h 511216"/>
                <a:gd name="connsiteX10" fmla="*/ 0 w 10241523"/>
                <a:gd name="connsiteY10" fmla="*/ 18015 h 511216"/>
                <a:gd name="connsiteX11" fmla="*/ 0 w 10241523"/>
                <a:gd name="connsiteY11" fmla="*/ 5688 h 511216"/>
                <a:gd name="connsiteX12" fmla="*/ 1538594 w 10241523"/>
                <a:gd name="connsiteY12" fmla="*/ 5688 h 511216"/>
                <a:gd name="connsiteX13" fmla="*/ 1538594 w 10241523"/>
                <a:gd name="connsiteY13" fmla="*/ 3250 h 511216"/>
                <a:gd name="connsiteX14" fmla="*/ 8447728 w 10241523"/>
                <a:gd name="connsiteY14" fmla="*/ 3250 h 511216"/>
                <a:gd name="connsiteX15" fmla="*/ 8448540 w 10241523"/>
                <a:gd name="connsiteY15" fmla="*/ 2438 h 511216"/>
                <a:gd name="connsiteX16" fmla="*/ 8449352 w 10241523"/>
                <a:gd name="connsiteY16" fmla="*/ 3250 h 511216"/>
                <a:gd name="connsiteX17" fmla="*/ 9983884 w 10241523"/>
                <a:gd name="connsiteY17" fmla="*/ 3250 h 51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241523" h="511216">
                  <a:moveTo>
                    <a:pt x="9987134" y="0"/>
                  </a:moveTo>
                  <a:lnTo>
                    <a:pt x="10241523" y="254389"/>
                  </a:lnTo>
                  <a:lnTo>
                    <a:pt x="9987134" y="508778"/>
                  </a:lnTo>
                  <a:lnTo>
                    <a:pt x="9983882" y="505526"/>
                  </a:lnTo>
                  <a:lnTo>
                    <a:pt x="8454230" y="505526"/>
                  </a:lnTo>
                  <a:lnTo>
                    <a:pt x="8448540" y="511216"/>
                  </a:lnTo>
                  <a:lnTo>
                    <a:pt x="8445288" y="507964"/>
                  </a:lnTo>
                  <a:lnTo>
                    <a:pt x="0" y="507964"/>
                  </a:lnTo>
                  <a:lnTo>
                    <a:pt x="0" y="495637"/>
                  </a:lnTo>
                  <a:lnTo>
                    <a:pt x="238812" y="256826"/>
                  </a:lnTo>
                  <a:lnTo>
                    <a:pt x="0" y="18015"/>
                  </a:lnTo>
                  <a:lnTo>
                    <a:pt x="0" y="5688"/>
                  </a:lnTo>
                  <a:lnTo>
                    <a:pt x="1538594" y="5688"/>
                  </a:lnTo>
                  <a:lnTo>
                    <a:pt x="1538594" y="3250"/>
                  </a:lnTo>
                  <a:lnTo>
                    <a:pt x="8447728" y="3250"/>
                  </a:lnTo>
                  <a:lnTo>
                    <a:pt x="8448540" y="2438"/>
                  </a:lnTo>
                  <a:lnTo>
                    <a:pt x="8449352" y="3250"/>
                  </a:lnTo>
                  <a:lnTo>
                    <a:pt x="9983884" y="325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id-ID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E5A3479-1ED5-400C-E3B6-397A68ECA222}"/>
                </a:ext>
              </a:extLst>
            </p:cNvPr>
            <p:cNvSpPr/>
            <p:nvPr/>
          </p:nvSpPr>
          <p:spPr>
            <a:xfrm>
              <a:off x="5336090" y="5846308"/>
              <a:ext cx="1789464" cy="415499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tle</a:t>
              </a:r>
              <a:endParaRPr lang="id-ID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38A7091-D8EF-849D-2C05-1FCCAE530E03}"/>
                </a:ext>
              </a:extLst>
            </p:cNvPr>
            <p:cNvSpPr/>
            <p:nvPr/>
          </p:nvSpPr>
          <p:spPr>
            <a:xfrm>
              <a:off x="8072554" y="5846306"/>
              <a:ext cx="2030477" cy="415499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tle</a:t>
              </a:r>
              <a:endParaRPr lang="id-ID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E19489C-A7EB-5A3A-5173-AB9E207C3F7C}"/>
                </a:ext>
              </a:extLst>
            </p:cNvPr>
            <p:cNvSpPr/>
            <p:nvPr/>
          </p:nvSpPr>
          <p:spPr>
            <a:xfrm>
              <a:off x="11181867" y="5846306"/>
              <a:ext cx="1789464" cy="415499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tle</a:t>
              </a:r>
              <a:endParaRPr lang="id-ID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F3606DE-19F1-3294-C91D-807894ACB1DF}"/>
                </a:ext>
              </a:extLst>
            </p:cNvPr>
            <p:cNvSpPr/>
            <p:nvPr/>
          </p:nvSpPr>
          <p:spPr>
            <a:xfrm>
              <a:off x="2622956" y="5846308"/>
              <a:ext cx="1789464" cy="415499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tle</a:t>
              </a:r>
              <a:endParaRPr lang="id-ID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B286910-97E5-7807-ADFB-D450410ECCC4}"/>
                </a:ext>
              </a:extLst>
            </p:cNvPr>
            <p:cNvSpPr/>
            <p:nvPr/>
          </p:nvSpPr>
          <p:spPr>
            <a:xfrm>
              <a:off x="13964426" y="5844505"/>
              <a:ext cx="1789464" cy="415499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tle</a:t>
              </a:r>
              <a:endParaRPr lang="id-ID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831E0AD-78AD-BE98-2D7E-CD53D2DB9BC6}"/>
                </a:ext>
              </a:extLst>
            </p:cNvPr>
            <p:cNvCxnSpPr/>
            <p:nvPr/>
          </p:nvCxnSpPr>
          <p:spPr>
            <a:xfrm flipH="1">
              <a:off x="3593206" y="6546734"/>
              <a:ext cx="2" cy="656823"/>
            </a:xfrm>
            <a:prstGeom prst="line">
              <a:avLst/>
            </a:prstGeom>
            <a:ln w="19050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26780BF-674A-3923-E850-8472923CECA5}"/>
                </a:ext>
              </a:extLst>
            </p:cNvPr>
            <p:cNvSpPr/>
            <p:nvPr/>
          </p:nvSpPr>
          <p:spPr>
            <a:xfrm>
              <a:off x="2168424" y="7568479"/>
              <a:ext cx="2771223" cy="1246496"/>
            </a:xfrm>
            <a:prstGeom prst="rect">
              <a:avLst/>
            </a:prstGeom>
          </p:spPr>
          <p:txBody>
            <a:bodyPr wrap="square" lIns="108000" tIns="108000" rIns="108000" bIns="108000">
              <a:noAutofit/>
            </a:bodyPr>
            <a:lstStyle/>
            <a:p>
              <a:pPr algn="ctr"/>
              <a:r>
                <a:rPr lang="id-ID" sz="2000" dirty="0">
                  <a:latin typeface="Arial" panose="020B0604020202020204" pitchFamily="34" charset="0"/>
                  <a:ea typeface="Open Sans Light" panose="020B0306030504020204" pitchFamily="34" charset="0"/>
                  <a:cs typeface="Arial" panose="020B0604020202020204" pitchFamily="34" charset="0"/>
                </a:rPr>
                <a:t>Lorem ipsum dolor sit amet, consectetur adipiscing elit. Sed do eiusmod tempor</a:t>
              </a:r>
              <a:endParaRPr lang="en-US" sz="2000" i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29BF76D-3D6E-6FBF-9DB6-EED9101D14B4}"/>
                </a:ext>
              </a:extLst>
            </p:cNvPr>
            <p:cNvCxnSpPr/>
            <p:nvPr/>
          </p:nvCxnSpPr>
          <p:spPr>
            <a:xfrm flipH="1">
              <a:off x="9085261" y="6546734"/>
              <a:ext cx="2" cy="656823"/>
            </a:xfrm>
            <a:prstGeom prst="line">
              <a:avLst/>
            </a:prstGeom>
            <a:ln w="19050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30EFF28-ABEA-7E65-D5B3-AA0DDDBE4AAA}"/>
                </a:ext>
              </a:extLst>
            </p:cNvPr>
            <p:cNvCxnSpPr/>
            <p:nvPr/>
          </p:nvCxnSpPr>
          <p:spPr>
            <a:xfrm flipH="1">
              <a:off x="14879642" y="6546734"/>
              <a:ext cx="2" cy="656823"/>
            </a:xfrm>
            <a:prstGeom prst="line">
              <a:avLst/>
            </a:prstGeom>
            <a:ln w="19050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FF8DEC0-7ACE-F767-2671-EEECB7E1BDEC}"/>
                </a:ext>
              </a:extLst>
            </p:cNvPr>
            <p:cNvCxnSpPr/>
            <p:nvPr/>
          </p:nvCxnSpPr>
          <p:spPr>
            <a:xfrm rot="10800000" flipH="1">
              <a:off x="6184738" y="4899347"/>
              <a:ext cx="2" cy="656823"/>
            </a:xfrm>
            <a:prstGeom prst="line">
              <a:avLst/>
            </a:prstGeom>
            <a:ln w="19050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C5334D08-C665-80A5-0706-AA049C9F7B3B}"/>
                </a:ext>
              </a:extLst>
            </p:cNvPr>
            <p:cNvCxnSpPr/>
            <p:nvPr/>
          </p:nvCxnSpPr>
          <p:spPr>
            <a:xfrm rot="10800000" flipH="1">
              <a:off x="12076814" y="4894271"/>
              <a:ext cx="2" cy="656823"/>
            </a:xfrm>
            <a:prstGeom prst="line">
              <a:avLst/>
            </a:prstGeom>
            <a:ln w="19050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ardrop 25">
              <a:extLst>
                <a:ext uri="{FF2B5EF4-FFF2-40B4-BE49-F238E27FC236}">
                  <a16:creationId xmlns:a16="http://schemas.microsoft.com/office/drawing/2014/main" id="{D2ECA041-CD50-88F6-28B2-9BB0B8C06459}"/>
                </a:ext>
              </a:extLst>
            </p:cNvPr>
            <p:cNvSpPr/>
            <p:nvPr/>
          </p:nvSpPr>
          <p:spPr>
            <a:xfrm rot="8100000">
              <a:off x="3263518" y="4670719"/>
              <a:ext cx="659375" cy="659375"/>
            </a:xfrm>
            <a:prstGeom prst="teardrop">
              <a:avLst>
                <a:gd name="adj" fmla="val 92453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id-ID"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EE605B0-37A8-F20A-646C-D0EAD973D2FF}"/>
                </a:ext>
              </a:extLst>
            </p:cNvPr>
            <p:cNvSpPr/>
            <p:nvPr/>
          </p:nvSpPr>
          <p:spPr>
            <a:xfrm>
              <a:off x="3146275" y="4760451"/>
              <a:ext cx="892979" cy="507831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/>
              <a:r>
                <a:rPr lang="id-ID" sz="2000" b="1" dirty="0">
                  <a:solidFill>
                    <a:schemeClr val="bg1"/>
                  </a:solidFill>
                  <a:latin typeface="Arial" panose="020B0604020202020204" pitchFamily="34" charset="0"/>
                  <a:ea typeface="Open Sans ExtraBold" panose="020B0906030804020204" pitchFamily="34" charset="0"/>
                  <a:cs typeface="Arial" panose="020B0604020202020204" pitchFamily="34" charset="0"/>
                </a:rPr>
                <a:t>1</a:t>
              </a:r>
              <a:endParaRPr lang="en-US" sz="2000" b="1" i="1" dirty="0">
                <a:solidFill>
                  <a:schemeClr val="bg1"/>
                </a:solidFill>
                <a:latin typeface="Arial" panose="020B0604020202020204" pitchFamily="34" charset="0"/>
                <a:ea typeface="Open Sans Extrabold" panose="020B09060308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Teardrop 28">
              <a:extLst>
                <a:ext uri="{FF2B5EF4-FFF2-40B4-BE49-F238E27FC236}">
                  <a16:creationId xmlns:a16="http://schemas.microsoft.com/office/drawing/2014/main" id="{35C9061C-2DA3-1853-8F08-7921CA4FC2CC}"/>
                </a:ext>
              </a:extLst>
            </p:cNvPr>
            <p:cNvSpPr/>
            <p:nvPr/>
          </p:nvSpPr>
          <p:spPr>
            <a:xfrm rot="8100000">
              <a:off x="8755573" y="4667441"/>
              <a:ext cx="659375" cy="659375"/>
            </a:xfrm>
            <a:prstGeom prst="teardrop">
              <a:avLst>
                <a:gd name="adj" fmla="val 92453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id-ID"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9F59731-110E-7279-65CD-2D22B07F6EE7}"/>
                </a:ext>
              </a:extLst>
            </p:cNvPr>
            <p:cNvSpPr/>
            <p:nvPr/>
          </p:nvSpPr>
          <p:spPr>
            <a:xfrm>
              <a:off x="8638330" y="4757174"/>
              <a:ext cx="892979" cy="507831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/>
              <a:r>
                <a:rPr lang="id-ID" sz="2000" b="1" dirty="0">
                  <a:solidFill>
                    <a:schemeClr val="bg1"/>
                  </a:solidFill>
                  <a:latin typeface="Arial" panose="020B0604020202020204" pitchFamily="34" charset="0"/>
                  <a:ea typeface="Open Sans ExtraBold" panose="020B0906030804020204" pitchFamily="34" charset="0"/>
                  <a:cs typeface="Arial" panose="020B0604020202020204" pitchFamily="34" charset="0"/>
                </a:rPr>
                <a:t>3</a:t>
              </a:r>
              <a:endParaRPr lang="en-US" sz="2000" b="1" i="1" dirty="0">
                <a:solidFill>
                  <a:schemeClr val="bg1"/>
                </a:solidFill>
                <a:latin typeface="Arial" panose="020B0604020202020204" pitchFamily="34" charset="0"/>
                <a:ea typeface="Open Sans Extrabold" panose="020B09060308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Teardrop 30">
              <a:extLst>
                <a:ext uri="{FF2B5EF4-FFF2-40B4-BE49-F238E27FC236}">
                  <a16:creationId xmlns:a16="http://schemas.microsoft.com/office/drawing/2014/main" id="{C30D814E-2D42-4966-CCE2-FA36B9CBEC0E}"/>
                </a:ext>
              </a:extLst>
            </p:cNvPr>
            <p:cNvSpPr/>
            <p:nvPr/>
          </p:nvSpPr>
          <p:spPr>
            <a:xfrm rot="8100000">
              <a:off x="14549953" y="4665530"/>
              <a:ext cx="659375" cy="659375"/>
            </a:xfrm>
            <a:prstGeom prst="teardrop">
              <a:avLst>
                <a:gd name="adj" fmla="val 92453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id-ID"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60C9C4CC-F96B-72CE-0420-9AF4F17DA91E}"/>
                </a:ext>
              </a:extLst>
            </p:cNvPr>
            <p:cNvSpPr/>
            <p:nvPr/>
          </p:nvSpPr>
          <p:spPr>
            <a:xfrm>
              <a:off x="14432710" y="4755263"/>
              <a:ext cx="892979" cy="507831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/>
              <a:r>
                <a:rPr lang="id-ID" sz="2000" b="1" dirty="0">
                  <a:solidFill>
                    <a:schemeClr val="bg1"/>
                  </a:solidFill>
                  <a:latin typeface="Arial" panose="020B0604020202020204" pitchFamily="34" charset="0"/>
                  <a:ea typeface="Open Sans ExtraBold" panose="020B0906030804020204" pitchFamily="34" charset="0"/>
                  <a:cs typeface="Arial" panose="020B0604020202020204" pitchFamily="34" charset="0"/>
                </a:rPr>
                <a:t>5</a:t>
              </a:r>
              <a:endParaRPr lang="en-US" sz="2000" b="1" i="1" dirty="0">
                <a:solidFill>
                  <a:schemeClr val="bg1"/>
                </a:solidFill>
                <a:latin typeface="Arial" panose="020B0604020202020204" pitchFamily="34" charset="0"/>
                <a:ea typeface="Open Sans Extrabold" panose="020B09060308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ardrop 32">
              <a:extLst>
                <a:ext uri="{FF2B5EF4-FFF2-40B4-BE49-F238E27FC236}">
                  <a16:creationId xmlns:a16="http://schemas.microsoft.com/office/drawing/2014/main" id="{355B8882-993E-BA2B-BA09-1C86B4FBB537}"/>
                </a:ext>
              </a:extLst>
            </p:cNvPr>
            <p:cNvSpPr/>
            <p:nvPr/>
          </p:nvSpPr>
          <p:spPr>
            <a:xfrm rot="18900000">
              <a:off x="11378477" y="6772543"/>
              <a:ext cx="659375" cy="659375"/>
            </a:xfrm>
            <a:prstGeom prst="teardrop">
              <a:avLst>
                <a:gd name="adj" fmla="val 92453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id-ID"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2C4675E-AA29-1B24-A457-6CA0039B67BC}"/>
                </a:ext>
              </a:extLst>
            </p:cNvPr>
            <p:cNvSpPr/>
            <p:nvPr/>
          </p:nvSpPr>
          <p:spPr>
            <a:xfrm rot="10800000" flipV="1">
              <a:off x="11242798" y="6834353"/>
              <a:ext cx="892979" cy="507831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/>
              <a:r>
                <a:rPr lang="id-ID" sz="2000" b="1" dirty="0">
                  <a:solidFill>
                    <a:schemeClr val="bg1"/>
                  </a:solidFill>
                  <a:latin typeface="Arial" panose="020B0604020202020204" pitchFamily="34" charset="0"/>
                  <a:ea typeface="Open Sans ExtraBold" panose="020B0906030804020204" pitchFamily="34" charset="0"/>
                  <a:cs typeface="Arial" panose="020B0604020202020204" pitchFamily="34" charset="0"/>
                </a:rPr>
                <a:t>4</a:t>
              </a:r>
              <a:endParaRPr lang="en-US" sz="2000" b="1" i="1" dirty="0">
                <a:solidFill>
                  <a:schemeClr val="bg1"/>
                </a:solidFill>
                <a:latin typeface="Arial" panose="020B0604020202020204" pitchFamily="34" charset="0"/>
                <a:ea typeface="Open Sans Extrabold" panose="020B09060308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Teardrop 34">
              <a:extLst>
                <a:ext uri="{FF2B5EF4-FFF2-40B4-BE49-F238E27FC236}">
                  <a16:creationId xmlns:a16="http://schemas.microsoft.com/office/drawing/2014/main" id="{4B508F53-4089-AD67-C92D-1FFA56A4C8DE}"/>
                </a:ext>
              </a:extLst>
            </p:cNvPr>
            <p:cNvSpPr/>
            <p:nvPr/>
          </p:nvSpPr>
          <p:spPr>
            <a:xfrm rot="18900000">
              <a:off x="5886422" y="6775820"/>
              <a:ext cx="659375" cy="659375"/>
            </a:xfrm>
            <a:prstGeom prst="teardrop">
              <a:avLst>
                <a:gd name="adj" fmla="val 92453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id-ID"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37430036-E3A9-CA66-9CF5-B7EA4C0CFA34}"/>
                </a:ext>
              </a:extLst>
            </p:cNvPr>
            <p:cNvSpPr/>
            <p:nvPr/>
          </p:nvSpPr>
          <p:spPr>
            <a:xfrm rot="10800000" flipV="1">
              <a:off x="5770061" y="6837630"/>
              <a:ext cx="892979" cy="507831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/>
              <a:r>
                <a:rPr lang="id-ID" sz="2000" b="1" dirty="0">
                  <a:solidFill>
                    <a:schemeClr val="bg1"/>
                  </a:solidFill>
                  <a:latin typeface="Arial" panose="020B0604020202020204" pitchFamily="34" charset="0"/>
                  <a:ea typeface="Open Sans ExtraBold" panose="020B0906030804020204" pitchFamily="34" charset="0"/>
                  <a:cs typeface="Arial" panose="020B0604020202020204" pitchFamily="34" charset="0"/>
                </a:rPr>
                <a:t>2</a:t>
              </a:r>
              <a:endParaRPr lang="en-US" sz="2000" b="1" i="1" dirty="0">
                <a:solidFill>
                  <a:schemeClr val="bg1"/>
                </a:solidFill>
                <a:latin typeface="Arial" panose="020B0604020202020204" pitchFamily="34" charset="0"/>
                <a:ea typeface="Open Sans Extrabold" panose="020B09060308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2BBFBF4-BBAF-7187-6E72-D8F08A0D4268}"/>
                </a:ext>
              </a:extLst>
            </p:cNvPr>
            <p:cNvSpPr/>
            <p:nvPr/>
          </p:nvSpPr>
          <p:spPr>
            <a:xfrm>
              <a:off x="7788668" y="7568479"/>
              <a:ext cx="2771223" cy="1246496"/>
            </a:xfrm>
            <a:prstGeom prst="rect">
              <a:avLst/>
            </a:prstGeom>
          </p:spPr>
          <p:txBody>
            <a:bodyPr wrap="square" lIns="108000" tIns="108000" rIns="108000" bIns="108000">
              <a:noAutofit/>
            </a:bodyPr>
            <a:lstStyle/>
            <a:p>
              <a:pPr algn="ctr"/>
              <a:r>
                <a:rPr lang="id-ID" sz="2000" dirty="0">
                  <a:latin typeface="Arial" panose="020B0604020202020204" pitchFamily="34" charset="0"/>
                  <a:ea typeface="Open Sans Light" panose="020B0306030504020204" pitchFamily="34" charset="0"/>
                  <a:cs typeface="Arial" panose="020B0604020202020204" pitchFamily="34" charset="0"/>
                </a:rPr>
                <a:t>Lorem ipsum dolor sit amet, consectetur adipiscing elit. Sed do eiusmod tempor</a:t>
              </a:r>
              <a:endParaRPr lang="en-US" sz="2000" i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20FB59A-ABCC-31AE-211D-89A594E4D511}"/>
                </a:ext>
              </a:extLst>
            </p:cNvPr>
            <p:cNvSpPr/>
            <p:nvPr/>
          </p:nvSpPr>
          <p:spPr>
            <a:xfrm>
              <a:off x="13566372" y="7568479"/>
              <a:ext cx="2771223" cy="1246496"/>
            </a:xfrm>
            <a:prstGeom prst="rect">
              <a:avLst/>
            </a:prstGeom>
          </p:spPr>
          <p:txBody>
            <a:bodyPr wrap="square" lIns="108000" tIns="108000" rIns="108000" bIns="108000">
              <a:noAutofit/>
            </a:bodyPr>
            <a:lstStyle/>
            <a:p>
              <a:pPr algn="ctr"/>
              <a:r>
                <a:rPr lang="id-ID" sz="2000" dirty="0">
                  <a:latin typeface="Arial" panose="020B0604020202020204" pitchFamily="34" charset="0"/>
                  <a:ea typeface="Open Sans Light" panose="020B0306030504020204" pitchFamily="34" charset="0"/>
                  <a:cs typeface="Arial" panose="020B0604020202020204" pitchFamily="34" charset="0"/>
                </a:rPr>
                <a:t>Lorem ipsum dolor sit amet, consectetur adipiscing elit. Sed do eiusmod tempor</a:t>
              </a:r>
              <a:endParaRPr lang="en-US" sz="2000" i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B9F8113-E206-3D3E-4C1C-90893911A3AB}"/>
                </a:ext>
              </a:extLst>
            </p:cNvPr>
            <p:cNvSpPr/>
            <p:nvPr/>
          </p:nvSpPr>
          <p:spPr>
            <a:xfrm>
              <a:off x="4775939" y="3665458"/>
              <a:ext cx="2771223" cy="1246496"/>
            </a:xfrm>
            <a:prstGeom prst="rect">
              <a:avLst/>
            </a:prstGeom>
          </p:spPr>
          <p:txBody>
            <a:bodyPr wrap="square" lIns="108000" tIns="108000" rIns="108000" bIns="108000">
              <a:noAutofit/>
            </a:bodyPr>
            <a:lstStyle/>
            <a:p>
              <a:pPr algn="ctr"/>
              <a:r>
                <a:rPr lang="id-ID" sz="2000" dirty="0">
                  <a:latin typeface="Arial" panose="020B0604020202020204" pitchFamily="34" charset="0"/>
                  <a:ea typeface="Open Sans Light" panose="020B0306030504020204" pitchFamily="34" charset="0"/>
                  <a:cs typeface="Arial" panose="020B0604020202020204" pitchFamily="34" charset="0"/>
                </a:rPr>
                <a:t>Lorem ipsum dolor sit amet, consectetur adipiscing elit. Sed do eiusmod tempor</a:t>
              </a:r>
              <a:endParaRPr lang="en-US" sz="2000" i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ACFAD58-78ED-06B8-0222-E8E7C8BBC7C2}"/>
                </a:ext>
              </a:extLst>
            </p:cNvPr>
            <p:cNvSpPr/>
            <p:nvPr/>
          </p:nvSpPr>
          <p:spPr>
            <a:xfrm>
              <a:off x="10750164" y="3665458"/>
              <a:ext cx="2771223" cy="1246496"/>
            </a:xfrm>
            <a:prstGeom prst="rect">
              <a:avLst/>
            </a:prstGeom>
          </p:spPr>
          <p:txBody>
            <a:bodyPr wrap="square" lIns="108000" tIns="108000" rIns="108000" bIns="108000">
              <a:noAutofit/>
            </a:bodyPr>
            <a:lstStyle/>
            <a:p>
              <a:pPr algn="ctr"/>
              <a:r>
                <a:rPr lang="id-ID" sz="2000" dirty="0">
                  <a:latin typeface="Arial" panose="020B0604020202020204" pitchFamily="34" charset="0"/>
                  <a:ea typeface="Open Sans Light" panose="020B0306030504020204" pitchFamily="34" charset="0"/>
                  <a:cs typeface="Arial" panose="020B0604020202020204" pitchFamily="34" charset="0"/>
                </a:rPr>
                <a:t>Lorem ipsum dolor sit amet, consectetur adipiscing elit. Sed do eiusmod tempor</a:t>
              </a:r>
              <a:endParaRPr lang="en-US" sz="2000" i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0EEEE3F3-A7D2-BE73-2F8F-98A4C83585E7}"/>
                </a:ext>
              </a:extLst>
            </p:cNvPr>
            <p:cNvGrpSpPr/>
            <p:nvPr/>
          </p:nvGrpSpPr>
          <p:grpSpPr>
            <a:xfrm>
              <a:off x="4231535" y="5573926"/>
              <a:ext cx="1156719" cy="1159139"/>
              <a:chOff x="2821023" y="3715950"/>
              <a:chExt cx="771146" cy="772759"/>
            </a:xfrm>
          </p:grpSpPr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20E8006D-D5CC-A65E-2B99-3EFEA8181F41}"/>
                  </a:ext>
                </a:extLst>
              </p:cNvPr>
              <p:cNvSpPr/>
              <p:nvPr/>
            </p:nvSpPr>
            <p:spPr>
              <a:xfrm rot="2700000">
                <a:off x="2821023" y="3715950"/>
                <a:ext cx="640175" cy="640175"/>
              </a:xfrm>
              <a:custGeom>
                <a:avLst/>
                <a:gdLst>
                  <a:gd name="connsiteX0" fmla="*/ 0 w 1080000"/>
                  <a:gd name="connsiteY0" fmla="*/ 0 h 1080000"/>
                  <a:gd name="connsiteX1" fmla="*/ 1080000 w 1080000"/>
                  <a:gd name="connsiteY1" fmla="*/ 0 h 1080000"/>
                  <a:gd name="connsiteX2" fmla="*/ 1080000 w 1080000"/>
                  <a:gd name="connsiteY2" fmla="*/ 1080000 h 1080000"/>
                  <a:gd name="connsiteX3" fmla="*/ 539998 w 1080000"/>
                  <a:gd name="connsiteY3" fmla="*/ 1080000 h 1080000"/>
                  <a:gd name="connsiteX4" fmla="*/ 539998 w 1080000"/>
                  <a:gd name="connsiteY4" fmla="*/ 540000 h 1080000"/>
                  <a:gd name="connsiteX5" fmla="*/ 0 w 1080000"/>
                  <a:gd name="connsiteY5" fmla="*/ 54000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80000" h="1080000">
                    <a:moveTo>
                      <a:pt x="0" y="0"/>
                    </a:moveTo>
                    <a:lnTo>
                      <a:pt x="1080000" y="0"/>
                    </a:lnTo>
                    <a:lnTo>
                      <a:pt x="1080000" y="1080000"/>
                    </a:lnTo>
                    <a:lnTo>
                      <a:pt x="539998" y="1080000"/>
                    </a:lnTo>
                    <a:lnTo>
                      <a:pt x="539998" y="540000"/>
                    </a:lnTo>
                    <a:lnTo>
                      <a:pt x="0" y="54000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id-ID" sz="27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17">
                <a:extLst>
                  <a:ext uri="{FF2B5EF4-FFF2-40B4-BE49-F238E27FC236}">
                    <a16:creationId xmlns:a16="http://schemas.microsoft.com/office/drawing/2014/main" id="{7B1BC0B3-23AF-738F-DE50-482C350B8BB9}"/>
                  </a:ext>
                </a:extLst>
              </p:cNvPr>
              <p:cNvSpPr/>
              <p:nvPr/>
            </p:nvSpPr>
            <p:spPr>
              <a:xfrm>
                <a:off x="2913161" y="4036036"/>
                <a:ext cx="679008" cy="452673"/>
              </a:xfrm>
              <a:custGeom>
                <a:avLst/>
                <a:gdLst>
                  <a:gd name="connsiteX0" fmla="*/ 251949 w 755852"/>
                  <a:gd name="connsiteY0" fmla="*/ 0 h 503902"/>
                  <a:gd name="connsiteX1" fmla="*/ 755852 w 755852"/>
                  <a:gd name="connsiteY1" fmla="*/ 0 h 503902"/>
                  <a:gd name="connsiteX2" fmla="*/ 251951 w 755852"/>
                  <a:gd name="connsiteY2" fmla="*/ 503902 h 503902"/>
                  <a:gd name="connsiteX3" fmla="*/ 0 w 755852"/>
                  <a:gd name="connsiteY3" fmla="*/ 251950 h 503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5852" h="503902">
                    <a:moveTo>
                      <a:pt x="251949" y="0"/>
                    </a:moveTo>
                    <a:lnTo>
                      <a:pt x="755852" y="0"/>
                    </a:lnTo>
                    <a:lnTo>
                      <a:pt x="251951" y="503902"/>
                    </a:lnTo>
                    <a:lnTo>
                      <a:pt x="0" y="25195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solidFill>
                  <a:schemeClr val="accent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id-ID" sz="2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3442B9E7-DC2F-AA3D-05F2-BA2A278725F5}"/>
                </a:ext>
              </a:extLst>
            </p:cNvPr>
            <p:cNvGrpSpPr/>
            <p:nvPr/>
          </p:nvGrpSpPr>
          <p:grpSpPr>
            <a:xfrm>
              <a:off x="6897280" y="5573925"/>
              <a:ext cx="1159139" cy="1151544"/>
              <a:chOff x="4598186" y="3715950"/>
              <a:chExt cx="772759" cy="767696"/>
            </a:xfrm>
          </p:grpSpPr>
          <p:sp>
            <p:nvSpPr>
              <p:cNvPr id="45" name="Freeform 19">
                <a:extLst>
                  <a:ext uri="{FF2B5EF4-FFF2-40B4-BE49-F238E27FC236}">
                    <a16:creationId xmlns:a16="http://schemas.microsoft.com/office/drawing/2014/main" id="{36BDFBA8-A6C7-5A4B-FB7B-D274C07CC2D7}"/>
                  </a:ext>
                </a:extLst>
              </p:cNvPr>
              <p:cNvSpPr/>
              <p:nvPr/>
            </p:nvSpPr>
            <p:spPr>
              <a:xfrm rot="2700000">
                <a:off x="4598186" y="3715950"/>
                <a:ext cx="640175" cy="640175"/>
              </a:xfrm>
              <a:custGeom>
                <a:avLst/>
                <a:gdLst>
                  <a:gd name="connsiteX0" fmla="*/ 0 w 1080000"/>
                  <a:gd name="connsiteY0" fmla="*/ 0 h 1080000"/>
                  <a:gd name="connsiteX1" fmla="*/ 1080000 w 1080000"/>
                  <a:gd name="connsiteY1" fmla="*/ 0 h 1080000"/>
                  <a:gd name="connsiteX2" fmla="*/ 1080000 w 1080000"/>
                  <a:gd name="connsiteY2" fmla="*/ 1080000 h 1080000"/>
                  <a:gd name="connsiteX3" fmla="*/ 539998 w 1080000"/>
                  <a:gd name="connsiteY3" fmla="*/ 1080000 h 1080000"/>
                  <a:gd name="connsiteX4" fmla="*/ 539998 w 1080000"/>
                  <a:gd name="connsiteY4" fmla="*/ 540000 h 1080000"/>
                  <a:gd name="connsiteX5" fmla="*/ 0 w 1080000"/>
                  <a:gd name="connsiteY5" fmla="*/ 54000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80000" h="1080000">
                    <a:moveTo>
                      <a:pt x="0" y="0"/>
                    </a:moveTo>
                    <a:lnTo>
                      <a:pt x="1080000" y="0"/>
                    </a:lnTo>
                    <a:lnTo>
                      <a:pt x="1080000" y="1080000"/>
                    </a:lnTo>
                    <a:lnTo>
                      <a:pt x="539998" y="1080000"/>
                    </a:lnTo>
                    <a:lnTo>
                      <a:pt x="539998" y="540000"/>
                    </a:lnTo>
                    <a:lnTo>
                      <a:pt x="0" y="54000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id-ID" sz="27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" name="Freeform 20">
                <a:extLst>
                  <a:ext uri="{FF2B5EF4-FFF2-40B4-BE49-F238E27FC236}">
                    <a16:creationId xmlns:a16="http://schemas.microsoft.com/office/drawing/2014/main" id="{7C1F74DF-C581-B873-A3DE-60DD2E733153}"/>
                  </a:ext>
                </a:extLst>
              </p:cNvPr>
              <p:cNvSpPr/>
              <p:nvPr/>
            </p:nvSpPr>
            <p:spPr>
              <a:xfrm>
                <a:off x="4691937" y="4030973"/>
                <a:ext cx="679008" cy="452673"/>
              </a:xfrm>
              <a:custGeom>
                <a:avLst/>
                <a:gdLst>
                  <a:gd name="connsiteX0" fmla="*/ 251949 w 755852"/>
                  <a:gd name="connsiteY0" fmla="*/ 0 h 503902"/>
                  <a:gd name="connsiteX1" fmla="*/ 755852 w 755852"/>
                  <a:gd name="connsiteY1" fmla="*/ 0 h 503902"/>
                  <a:gd name="connsiteX2" fmla="*/ 251951 w 755852"/>
                  <a:gd name="connsiteY2" fmla="*/ 503902 h 503902"/>
                  <a:gd name="connsiteX3" fmla="*/ 0 w 755852"/>
                  <a:gd name="connsiteY3" fmla="*/ 251950 h 503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5852" h="503902">
                    <a:moveTo>
                      <a:pt x="251949" y="0"/>
                    </a:moveTo>
                    <a:lnTo>
                      <a:pt x="755852" y="0"/>
                    </a:lnTo>
                    <a:lnTo>
                      <a:pt x="251951" y="503902"/>
                    </a:lnTo>
                    <a:lnTo>
                      <a:pt x="0" y="25195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solidFill>
                  <a:schemeClr val="accent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id-ID" sz="2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0C13EB9D-1E4A-54B0-25D7-F977C79CA272}"/>
                </a:ext>
              </a:extLst>
            </p:cNvPr>
            <p:cNvGrpSpPr/>
            <p:nvPr/>
          </p:nvGrpSpPr>
          <p:grpSpPr>
            <a:xfrm>
              <a:off x="9926370" y="5573924"/>
              <a:ext cx="1159140" cy="1162421"/>
              <a:chOff x="6617580" y="3715949"/>
              <a:chExt cx="772760" cy="774947"/>
            </a:xfrm>
          </p:grpSpPr>
          <p:sp>
            <p:nvSpPr>
              <p:cNvPr id="47" name="Freeform 22">
                <a:extLst>
                  <a:ext uri="{FF2B5EF4-FFF2-40B4-BE49-F238E27FC236}">
                    <a16:creationId xmlns:a16="http://schemas.microsoft.com/office/drawing/2014/main" id="{50695F24-4C7D-22E9-E0E9-F9A1FA715E61}"/>
                  </a:ext>
                </a:extLst>
              </p:cNvPr>
              <p:cNvSpPr/>
              <p:nvPr/>
            </p:nvSpPr>
            <p:spPr>
              <a:xfrm rot="2700000">
                <a:off x="6617580" y="3715949"/>
                <a:ext cx="640175" cy="640175"/>
              </a:xfrm>
              <a:custGeom>
                <a:avLst/>
                <a:gdLst>
                  <a:gd name="connsiteX0" fmla="*/ 0 w 1080000"/>
                  <a:gd name="connsiteY0" fmla="*/ 0 h 1080000"/>
                  <a:gd name="connsiteX1" fmla="*/ 1080000 w 1080000"/>
                  <a:gd name="connsiteY1" fmla="*/ 0 h 1080000"/>
                  <a:gd name="connsiteX2" fmla="*/ 1080000 w 1080000"/>
                  <a:gd name="connsiteY2" fmla="*/ 1080000 h 1080000"/>
                  <a:gd name="connsiteX3" fmla="*/ 539998 w 1080000"/>
                  <a:gd name="connsiteY3" fmla="*/ 1080000 h 1080000"/>
                  <a:gd name="connsiteX4" fmla="*/ 539998 w 1080000"/>
                  <a:gd name="connsiteY4" fmla="*/ 540000 h 1080000"/>
                  <a:gd name="connsiteX5" fmla="*/ 0 w 1080000"/>
                  <a:gd name="connsiteY5" fmla="*/ 54000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80000" h="1080000">
                    <a:moveTo>
                      <a:pt x="0" y="0"/>
                    </a:moveTo>
                    <a:lnTo>
                      <a:pt x="1080000" y="0"/>
                    </a:lnTo>
                    <a:lnTo>
                      <a:pt x="1080000" y="1080000"/>
                    </a:lnTo>
                    <a:lnTo>
                      <a:pt x="539998" y="1080000"/>
                    </a:lnTo>
                    <a:lnTo>
                      <a:pt x="539998" y="540000"/>
                    </a:lnTo>
                    <a:lnTo>
                      <a:pt x="0" y="54000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id-ID" sz="27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Freeform 23">
                <a:extLst>
                  <a:ext uri="{FF2B5EF4-FFF2-40B4-BE49-F238E27FC236}">
                    <a16:creationId xmlns:a16="http://schemas.microsoft.com/office/drawing/2014/main" id="{B0B5FED0-6CD7-C2AE-9B98-D788B486A9AC}"/>
                  </a:ext>
                </a:extLst>
              </p:cNvPr>
              <p:cNvSpPr/>
              <p:nvPr/>
            </p:nvSpPr>
            <p:spPr>
              <a:xfrm>
                <a:off x="6711332" y="4038223"/>
                <a:ext cx="679008" cy="452673"/>
              </a:xfrm>
              <a:custGeom>
                <a:avLst/>
                <a:gdLst>
                  <a:gd name="connsiteX0" fmla="*/ 251949 w 755852"/>
                  <a:gd name="connsiteY0" fmla="*/ 0 h 503902"/>
                  <a:gd name="connsiteX1" fmla="*/ 755852 w 755852"/>
                  <a:gd name="connsiteY1" fmla="*/ 0 h 503902"/>
                  <a:gd name="connsiteX2" fmla="*/ 251951 w 755852"/>
                  <a:gd name="connsiteY2" fmla="*/ 503902 h 503902"/>
                  <a:gd name="connsiteX3" fmla="*/ 0 w 755852"/>
                  <a:gd name="connsiteY3" fmla="*/ 251950 h 503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5852" h="503902">
                    <a:moveTo>
                      <a:pt x="251949" y="0"/>
                    </a:moveTo>
                    <a:lnTo>
                      <a:pt x="755852" y="0"/>
                    </a:lnTo>
                    <a:lnTo>
                      <a:pt x="251951" y="503902"/>
                    </a:lnTo>
                    <a:lnTo>
                      <a:pt x="0" y="25195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solidFill>
                  <a:schemeClr val="accent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id-ID" sz="2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04C11234-BBB1-B00F-38B5-D7378FD693E3}"/>
                </a:ext>
              </a:extLst>
            </p:cNvPr>
            <p:cNvGrpSpPr/>
            <p:nvPr/>
          </p:nvGrpSpPr>
          <p:grpSpPr>
            <a:xfrm>
              <a:off x="12916488" y="5573924"/>
              <a:ext cx="1159140" cy="1162421"/>
              <a:chOff x="8610992" y="3715949"/>
              <a:chExt cx="772760" cy="774947"/>
            </a:xfrm>
          </p:grpSpPr>
          <p:sp>
            <p:nvSpPr>
              <p:cNvPr id="49" name="Freeform 25">
                <a:extLst>
                  <a:ext uri="{FF2B5EF4-FFF2-40B4-BE49-F238E27FC236}">
                    <a16:creationId xmlns:a16="http://schemas.microsoft.com/office/drawing/2014/main" id="{B7F7018C-0039-EE4E-5868-7EB0C932BDC4}"/>
                  </a:ext>
                </a:extLst>
              </p:cNvPr>
              <p:cNvSpPr/>
              <p:nvPr/>
            </p:nvSpPr>
            <p:spPr>
              <a:xfrm rot="2700000">
                <a:off x="8610992" y="3715949"/>
                <a:ext cx="640175" cy="640175"/>
              </a:xfrm>
              <a:custGeom>
                <a:avLst/>
                <a:gdLst>
                  <a:gd name="connsiteX0" fmla="*/ 0 w 1080000"/>
                  <a:gd name="connsiteY0" fmla="*/ 0 h 1080000"/>
                  <a:gd name="connsiteX1" fmla="*/ 1080000 w 1080000"/>
                  <a:gd name="connsiteY1" fmla="*/ 0 h 1080000"/>
                  <a:gd name="connsiteX2" fmla="*/ 1080000 w 1080000"/>
                  <a:gd name="connsiteY2" fmla="*/ 1080000 h 1080000"/>
                  <a:gd name="connsiteX3" fmla="*/ 539998 w 1080000"/>
                  <a:gd name="connsiteY3" fmla="*/ 1080000 h 1080000"/>
                  <a:gd name="connsiteX4" fmla="*/ 539998 w 1080000"/>
                  <a:gd name="connsiteY4" fmla="*/ 540000 h 1080000"/>
                  <a:gd name="connsiteX5" fmla="*/ 0 w 1080000"/>
                  <a:gd name="connsiteY5" fmla="*/ 54000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80000" h="1080000">
                    <a:moveTo>
                      <a:pt x="0" y="0"/>
                    </a:moveTo>
                    <a:lnTo>
                      <a:pt x="1080000" y="0"/>
                    </a:lnTo>
                    <a:lnTo>
                      <a:pt x="1080000" y="1080000"/>
                    </a:lnTo>
                    <a:lnTo>
                      <a:pt x="539998" y="1080000"/>
                    </a:lnTo>
                    <a:lnTo>
                      <a:pt x="539998" y="540000"/>
                    </a:lnTo>
                    <a:lnTo>
                      <a:pt x="0" y="54000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id-ID" sz="27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26">
                <a:extLst>
                  <a:ext uri="{FF2B5EF4-FFF2-40B4-BE49-F238E27FC236}">
                    <a16:creationId xmlns:a16="http://schemas.microsoft.com/office/drawing/2014/main" id="{98C7FEBE-9312-ACF7-3749-6F23AF52C598}"/>
                  </a:ext>
                </a:extLst>
              </p:cNvPr>
              <p:cNvSpPr/>
              <p:nvPr/>
            </p:nvSpPr>
            <p:spPr>
              <a:xfrm>
                <a:off x="8704744" y="4038223"/>
                <a:ext cx="679008" cy="452673"/>
              </a:xfrm>
              <a:custGeom>
                <a:avLst/>
                <a:gdLst>
                  <a:gd name="connsiteX0" fmla="*/ 251949 w 755852"/>
                  <a:gd name="connsiteY0" fmla="*/ 0 h 503902"/>
                  <a:gd name="connsiteX1" fmla="*/ 755852 w 755852"/>
                  <a:gd name="connsiteY1" fmla="*/ 0 h 503902"/>
                  <a:gd name="connsiteX2" fmla="*/ 251951 w 755852"/>
                  <a:gd name="connsiteY2" fmla="*/ 503902 h 503902"/>
                  <a:gd name="connsiteX3" fmla="*/ 0 w 755852"/>
                  <a:gd name="connsiteY3" fmla="*/ 251950 h 503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5852" h="503902">
                    <a:moveTo>
                      <a:pt x="251949" y="0"/>
                    </a:moveTo>
                    <a:lnTo>
                      <a:pt x="755852" y="0"/>
                    </a:lnTo>
                    <a:lnTo>
                      <a:pt x="251951" y="503902"/>
                    </a:lnTo>
                    <a:lnTo>
                      <a:pt x="0" y="25195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solidFill>
                  <a:schemeClr val="accent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id-ID" sz="2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153F42A-6779-D005-4B11-C64E49F92F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49932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38</TotalTime>
  <Words>82</Words>
  <Application>Microsoft Office PowerPoint</Application>
  <PresentationFormat>Custom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Symbol</vt:lpstr>
      <vt:lpstr>Arial</vt:lpstr>
      <vt:lpstr>Custom Design</vt:lpstr>
      <vt:lpstr>think-cell Slide</vt:lpstr>
      <vt:lpstr>Time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46</cp:revision>
  <dcterms:created xsi:type="dcterms:W3CDTF">2006-08-16T00:00:00Z</dcterms:created>
  <dcterms:modified xsi:type="dcterms:W3CDTF">2025-10-06T09:43:08Z</dcterms:modified>
  <cp:category/>
  <dc:identifier>DAGkDf5R9EM</dc:identifier>
</cp:coreProperties>
</file>